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3"/>
  </p:notesMasterIdLst>
  <p:sldIdLst>
    <p:sldId id="275" r:id="rId7"/>
    <p:sldId id="274" r:id="rId8"/>
    <p:sldId id="289" r:id="rId9"/>
    <p:sldId id="315" r:id="rId10"/>
    <p:sldId id="316" r:id="rId11"/>
    <p:sldId id="314" r:id="rId12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>
            <p14:sldId id="274"/>
          </p14:sldIdLst>
        </p14:section>
        <p14:section name="Inhalt" id="{9143C095-ADCB-48C6-BBF9-4399ACA44AAA}">
          <p14:sldIdLst>
            <p14:sldId id="289"/>
            <p14:sldId id="315"/>
            <p14:sldId id="316"/>
            <p14:sldId id="314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85" d="100"/>
          <a:sy n="85" d="100"/>
        </p:scale>
        <p:origin x="96" y="75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02.07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627" b="37003"/>
          <a:stretch/>
        </p:blipFill>
        <p:spPr bwMode="auto">
          <a:xfrm>
            <a:off x="0" y="0"/>
            <a:ext cx="12192000" cy="688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>
          <a:xfrm>
            <a:off x="349816" y="-6180"/>
            <a:ext cx="5746184" cy="6891563"/>
          </a:xfrm>
          <a:custGeom>
            <a:avLst/>
            <a:gdLst>
              <a:gd name="connsiteX0" fmla="*/ 0 w 3724176"/>
              <a:gd name="connsiteY0" fmla="*/ 0 h 6885384"/>
              <a:gd name="connsiteX1" fmla="*/ 3724176 w 3724176"/>
              <a:gd name="connsiteY1" fmla="*/ 0 h 6885384"/>
              <a:gd name="connsiteX2" fmla="*/ 3724176 w 3724176"/>
              <a:gd name="connsiteY2" fmla="*/ 6885384 h 6885384"/>
              <a:gd name="connsiteX3" fmla="*/ 0 w 3724176"/>
              <a:gd name="connsiteY3" fmla="*/ 6885384 h 6885384"/>
              <a:gd name="connsiteX4" fmla="*/ 0 w 3724176"/>
              <a:gd name="connsiteY4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1470660 h 6885384"/>
              <a:gd name="connsiteX5" fmla="*/ 5080 w 3729256"/>
              <a:gd name="connsiteY5" fmla="*/ 0 h 6885384"/>
              <a:gd name="connsiteX0" fmla="*/ 277374 w 4001550"/>
              <a:gd name="connsiteY0" fmla="*/ 0 h 6885384"/>
              <a:gd name="connsiteX1" fmla="*/ 4001550 w 4001550"/>
              <a:gd name="connsiteY1" fmla="*/ 0 h 6885384"/>
              <a:gd name="connsiteX2" fmla="*/ 4001550 w 4001550"/>
              <a:gd name="connsiteY2" fmla="*/ 6885384 h 6885384"/>
              <a:gd name="connsiteX3" fmla="*/ 277374 w 4001550"/>
              <a:gd name="connsiteY3" fmla="*/ 6885384 h 6885384"/>
              <a:gd name="connsiteX4" fmla="*/ 272294 w 4001550"/>
              <a:gd name="connsiteY4" fmla="*/ 2225040 h 6885384"/>
              <a:gd name="connsiteX5" fmla="*/ 272294 w 4001550"/>
              <a:gd name="connsiteY5" fmla="*/ 1470660 h 6885384"/>
              <a:gd name="connsiteX6" fmla="*/ 277374 w 4001550"/>
              <a:gd name="connsiteY6" fmla="*/ 0 h 6885384"/>
              <a:gd name="connsiteX0" fmla="*/ 5716 w 3729892"/>
              <a:gd name="connsiteY0" fmla="*/ 0 h 6885384"/>
              <a:gd name="connsiteX1" fmla="*/ 3729892 w 3729892"/>
              <a:gd name="connsiteY1" fmla="*/ 0 h 6885384"/>
              <a:gd name="connsiteX2" fmla="*/ 3729892 w 3729892"/>
              <a:gd name="connsiteY2" fmla="*/ 6885384 h 6885384"/>
              <a:gd name="connsiteX3" fmla="*/ 5716 w 3729892"/>
              <a:gd name="connsiteY3" fmla="*/ 6885384 h 6885384"/>
              <a:gd name="connsiteX4" fmla="*/ 636 w 3729892"/>
              <a:gd name="connsiteY4" fmla="*/ 2225040 h 6885384"/>
              <a:gd name="connsiteX5" fmla="*/ 636 w 3729892"/>
              <a:gd name="connsiteY5" fmla="*/ 1470660 h 6885384"/>
              <a:gd name="connsiteX6" fmla="*/ 5716 w 3729892"/>
              <a:gd name="connsiteY6" fmla="*/ 0 h 6885384"/>
              <a:gd name="connsiteX0" fmla="*/ 5457 w 3729633"/>
              <a:gd name="connsiteY0" fmla="*/ 0 h 6885384"/>
              <a:gd name="connsiteX1" fmla="*/ 3729633 w 3729633"/>
              <a:gd name="connsiteY1" fmla="*/ 0 h 6885384"/>
              <a:gd name="connsiteX2" fmla="*/ 3729633 w 3729633"/>
              <a:gd name="connsiteY2" fmla="*/ 6885384 h 6885384"/>
              <a:gd name="connsiteX3" fmla="*/ 5457 w 3729633"/>
              <a:gd name="connsiteY3" fmla="*/ 6885384 h 6885384"/>
              <a:gd name="connsiteX4" fmla="*/ 377 w 3729633"/>
              <a:gd name="connsiteY4" fmla="*/ 2225040 h 6885384"/>
              <a:gd name="connsiteX5" fmla="*/ 377 w 3729633"/>
              <a:gd name="connsiteY5" fmla="*/ 1805940 h 6885384"/>
              <a:gd name="connsiteX6" fmla="*/ 377 w 3729633"/>
              <a:gd name="connsiteY6" fmla="*/ 1470660 h 6885384"/>
              <a:gd name="connsiteX7" fmla="*/ 5457 w 3729633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4 w 3729260"/>
              <a:gd name="connsiteY0" fmla="*/ 0 h 6885384"/>
              <a:gd name="connsiteX1" fmla="*/ 3729260 w 3729260"/>
              <a:gd name="connsiteY1" fmla="*/ 0 h 6885384"/>
              <a:gd name="connsiteX2" fmla="*/ 3729260 w 3729260"/>
              <a:gd name="connsiteY2" fmla="*/ 6885384 h 6885384"/>
              <a:gd name="connsiteX3" fmla="*/ 5084 w 3729260"/>
              <a:gd name="connsiteY3" fmla="*/ 6885384 h 6885384"/>
              <a:gd name="connsiteX4" fmla="*/ 4 w 3729260"/>
              <a:gd name="connsiteY4" fmla="*/ 2225040 h 6885384"/>
              <a:gd name="connsiteX5" fmla="*/ 449584 w 3729260"/>
              <a:gd name="connsiteY5" fmla="*/ 1821180 h 6885384"/>
              <a:gd name="connsiteX6" fmla="*/ 4 w 3729260"/>
              <a:gd name="connsiteY6" fmla="*/ 1470660 h 6885384"/>
              <a:gd name="connsiteX7" fmla="*/ 5084 w 3729260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6585056"/>
              <a:gd name="connsiteY0" fmla="*/ 6179 h 6891563"/>
              <a:gd name="connsiteX1" fmla="*/ 6585056 w 6585056"/>
              <a:gd name="connsiteY1" fmla="*/ 0 h 6891563"/>
              <a:gd name="connsiteX2" fmla="*/ 3729256 w 6585056"/>
              <a:gd name="connsiteY2" fmla="*/ 6891563 h 6891563"/>
              <a:gd name="connsiteX3" fmla="*/ 5080 w 6585056"/>
              <a:gd name="connsiteY3" fmla="*/ 6891563 h 6891563"/>
              <a:gd name="connsiteX4" fmla="*/ 0 w 6585056"/>
              <a:gd name="connsiteY4" fmla="*/ 2231219 h 6891563"/>
              <a:gd name="connsiteX5" fmla="*/ 449580 w 6585056"/>
              <a:gd name="connsiteY5" fmla="*/ 1827359 h 6891563"/>
              <a:gd name="connsiteX6" fmla="*/ 0 w 6585056"/>
              <a:gd name="connsiteY6" fmla="*/ 1476839 h 6891563"/>
              <a:gd name="connsiteX7" fmla="*/ 5080 w 6585056"/>
              <a:gd name="connsiteY7" fmla="*/ 6179 h 6891563"/>
              <a:gd name="connsiteX0" fmla="*/ 5080 w 6625937"/>
              <a:gd name="connsiteY0" fmla="*/ 6179 h 6891563"/>
              <a:gd name="connsiteX1" fmla="*/ 6585056 w 6625937"/>
              <a:gd name="connsiteY1" fmla="*/ 0 h 6891563"/>
              <a:gd name="connsiteX2" fmla="*/ 6625937 w 6625937"/>
              <a:gd name="connsiteY2" fmla="*/ 6885384 h 6891563"/>
              <a:gd name="connsiteX3" fmla="*/ 5080 w 6625937"/>
              <a:gd name="connsiteY3" fmla="*/ 6891563 h 6891563"/>
              <a:gd name="connsiteX4" fmla="*/ 0 w 6625937"/>
              <a:gd name="connsiteY4" fmla="*/ 2231219 h 6891563"/>
              <a:gd name="connsiteX5" fmla="*/ 449580 w 6625937"/>
              <a:gd name="connsiteY5" fmla="*/ 1827359 h 6891563"/>
              <a:gd name="connsiteX6" fmla="*/ 0 w 6625937"/>
              <a:gd name="connsiteY6" fmla="*/ 1476839 h 6891563"/>
              <a:gd name="connsiteX7" fmla="*/ 5080 w 6625937"/>
              <a:gd name="connsiteY7" fmla="*/ 6179 h 6891563"/>
              <a:gd name="connsiteX0" fmla="*/ 5080 w 6614257"/>
              <a:gd name="connsiteY0" fmla="*/ 6179 h 6891563"/>
              <a:gd name="connsiteX1" fmla="*/ 6585056 w 6614257"/>
              <a:gd name="connsiteY1" fmla="*/ 0 h 6891563"/>
              <a:gd name="connsiteX2" fmla="*/ 6614257 w 6614257"/>
              <a:gd name="connsiteY2" fmla="*/ 6879206 h 6891563"/>
              <a:gd name="connsiteX3" fmla="*/ 5080 w 6614257"/>
              <a:gd name="connsiteY3" fmla="*/ 6891563 h 6891563"/>
              <a:gd name="connsiteX4" fmla="*/ 0 w 6614257"/>
              <a:gd name="connsiteY4" fmla="*/ 2231219 h 6891563"/>
              <a:gd name="connsiteX5" fmla="*/ 449580 w 6614257"/>
              <a:gd name="connsiteY5" fmla="*/ 1827359 h 6891563"/>
              <a:gd name="connsiteX6" fmla="*/ 0 w 6614257"/>
              <a:gd name="connsiteY6" fmla="*/ 1476839 h 6891563"/>
              <a:gd name="connsiteX7" fmla="*/ 5080 w 6614257"/>
              <a:gd name="connsiteY7" fmla="*/ 6179 h 6891563"/>
              <a:gd name="connsiteX0" fmla="*/ 5080 w 6596736"/>
              <a:gd name="connsiteY0" fmla="*/ 6179 h 6891563"/>
              <a:gd name="connsiteX1" fmla="*/ 6585056 w 6596736"/>
              <a:gd name="connsiteY1" fmla="*/ 0 h 6891563"/>
              <a:gd name="connsiteX2" fmla="*/ 6596736 w 6596736"/>
              <a:gd name="connsiteY2" fmla="*/ 6879206 h 6891563"/>
              <a:gd name="connsiteX3" fmla="*/ 5080 w 6596736"/>
              <a:gd name="connsiteY3" fmla="*/ 6891563 h 6891563"/>
              <a:gd name="connsiteX4" fmla="*/ 0 w 6596736"/>
              <a:gd name="connsiteY4" fmla="*/ 2231219 h 6891563"/>
              <a:gd name="connsiteX5" fmla="*/ 449580 w 6596736"/>
              <a:gd name="connsiteY5" fmla="*/ 1827359 h 6891563"/>
              <a:gd name="connsiteX6" fmla="*/ 0 w 6596736"/>
              <a:gd name="connsiteY6" fmla="*/ 1476839 h 6891563"/>
              <a:gd name="connsiteX7" fmla="*/ 5080 w 6596736"/>
              <a:gd name="connsiteY7" fmla="*/ 6179 h 6891563"/>
              <a:gd name="connsiteX0" fmla="*/ 5715 w 6597371"/>
              <a:gd name="connsiteY0" fmla="*/ 6179 h 6891563"/>
              <a:gd name="connsiteX1" fmla="*/ 6585691 w 6597371"/>
              <a:gd name="connsiteY1" fmla="*/ 0 h 6891563"/>
              <a:gd name="connsiteX2" fmla="*/ 6597371 w 6597371"/>
              <a:gd name="connsiteY2" fmla="*/ 6879206 h 6891563"/>
              <a:gd name="connsiteX3" fmla="*/ 5715 w 6597371"/>
              <a:gd name="connsiteY3" fmla="*/ 6891563 h 6891563"/>
              <a:gd name="connsiteX4" fmla="*/ 635 w 6597371"/>
              <a:gd name="connsiteY4" fmla="*/ 2231219 h 6891563"/>
              <a:gd name="connsiteX5" fmla="*/ 635 w 6597371"/>
              <a:gd name="connsiteY5" fmla="*/ 1476839 h 6891563"/>
              <a:gd name="connsiteX6" fmla="*/ 5715 w 6597371"/>
              <a:gd name="connsiteY6" fmla="*/ 6179 h 689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371" h="6891563">
                <a:moveTo>
                  <a:pt x="5715" y="6179"/>
                </a:moveTo>
                <a:lnTo>
                  <a:pt x="6585691" y="0"/>
                </a:lnTo>
                <a:cubicBezTo>
                  <a:pt x="6589584" y="2293069"/>
                  <a:pt x="6593478" y="4586137"/>
                  <a:pt x="6597371" y="6879206"/>
                </a:cubicBezTo>
                <a:lnTo>
                  <a:pt x="5715" y="6891563"/>
                </a:lnTo>
                <a:cubicBezTo>
                  <a:pt x="9012" y="6061499"/>
                  <a:pt x="1482" y="3133673"/>
                  <a:pt x="635" y="2231219"/>
                </a:cubicBezTo>
                <a:cubicBezTo>
                  <a:pt x="-212" y="1328765"/>
                  <a:pt x="-212" y="1847679"/>
                  <a:pt x="635" y="1476839"/>
                </a:cubicBezTo>
                <a:cubicBezTo>
                  <a:pt x="2328" y="986619"/>
                  <a:pt x="4022" y="496399"/>
                  <a:pt x="5715" y="6179"/>
                </a:cubicBezTo>
                <a:close/>
              </a:path>
            </a:pathLst>
          </a:cu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idx="1"/>
          </p:nvPr>
        </p:nvSpPr>
        <p:spPr>
          <a:xfrm>
            <a:off x="647594" y="1263040"/>
            <a:ext cx="5150628" cy="3600400"/>
          </a:xfrm>
        </p:spPr>
        <p:txBody>
          <a:bodyPr/>
          <a:lstStyle/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23392" y="258762"/>
            <a:ext cx="9754043" cy="424800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881309" y="6584951"/>
            <a:ext cx="5012928" cy="215900"/>
          </a:xfrm>
        </p:spPr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360363" y="6586439"/>
            <a:ext cx="493866" cy="216000"/>
          </a:xfrm>
        </p:spPr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30114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hteck 47">
            <a:extLst>
              <a:ext uri="{FF2B5EF4-FFF2-40B4-BE49-F238E27FC236}">
                <a16:creationId xmlns:a16="http://schemas.microsoft.com/office/drawing/2014/main" id="{4764B283-ED2E-43B0-8A68-C2D657AE282F}"/>
              </a:ext>
            </a:extLst>
          </p:cNvPr>
          <p:cNvSpPr/>
          <p:nvPr/>
        </p:nvSpPr>
        <p:spPr>
          <a:xfrm>
            <a:off x="8551335" y="4676283"/>
            <a:ext cx="2281962" cy="1192522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DAAAC9FD-5E85-46A2-B264-A12A0D7E6BF6}"/>
              </a:ext>
            </a:extLst>
          </p:cNvPr>
          <p:cNvSpPr/>
          <p:nvPr/>
        </p:nvSpPr>
        <p:spPr>
          <a:xfrm>
            <a:off x="441873" y="4617156"/>
            <a:ext cx="2404534" cy="1524975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B80DDFC-A8C0-4D03-A799-43DBDD5C7D0F}"/>
              </a:ext>
            </a:extLst>
          </p:cNvPr>
          <p:cNvSpPr/>
          <p:nvPr/>
        </p:nvSpPr>
        <p:spPr>
          <a:xfrm>
            <a:off x="8428762" y="948267"/>
            <a:ext cx="2404534" cy="2480734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508E6FE-F374-4396-BDF7-9F624EFB144E}"/>
              </a:ext>
            </a:extLst>
          </p:cNvPr>
          <p:cNvSpPr/>
          <p:nvPr/>
        </p:nvSpPr>
        <p:spPr>
          <a:xfrm>
            <a:off x="4015868" y="791871"/>
            <a:ext cx="2404534" cy="2882503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6475366-ED02-4330-B845-F535D375E6F3}"/>
              </a:ext>
            </a:extLst>
          </p:cNvPr>
          <p:cNvSpPr/>
          <p:nvPr/>
        </p:nvSpPr>
        <p:spPr>
          <a:xfrm>
            <a:off x="462844" y="869244"/>
            <a:ext cx="2404534" cy="1739474"/>
          </a:xfrm>
          <a:prstGeom prst="rect">
            <a:avLst/>
          </a:prstGeom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ausalkette zur Einbindung von </a:t>
            </a:r>
            <a:r>
              <a:rPr lang="de-DE" dirty="0" err="1"/>
              <a:t>Tensorflow</a:t>
            </a:r>
            <a:r>
              <a:rPr lang="de-DE" dirty="0"/>
              <a:t> Lit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16" name="Grafik 15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D5B1FEAD-2A56-49D5-B7C1-7C2B1BFBD6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08" y="1042570"/>
            <a:ext cx="1783605" cy="1087564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BE391E98-4E5A-4C2B-A2BA-3A0FE1206F3E}"/>
              </a:ext>
            </a:extLst>
          </p:cNvPr>
          <p:cNvSpPr txBox="1"/>
          <p:nvPr/>
        </p:nvSpPr>
        <p:spPr>
          <a:xfrm>
            <a:off x="988640" y="2155512"/>
            <a:ext cx="13529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Knoten Kinect2Bridge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17328A3-A700-4116-B5EA-E9CDB7C413A6}"/>
              </a:ext>
            </a:extLst>
          </p:cNvPr>
          <p:cNvCxnSpPr>
            <a:cxnSpLocks/>
          </p:cNvCxnSpPr>
          <p:nvPr/>
        </p:nvCxnSpPr>
        <p:spPr>
          <a:xfrm>
            <a:off x="2867378" y="1885244"/>
            <a:ext cx="1148490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 descr="Ein Bild, das Text enthält.&#10;&#10;Automatisch generierte Beschreibung">
            <a:extLst>
              <a:ext uri="{FF2B5EF4-FFF2-40B4-BE49-F238E27FC236}">
                <a16:creationId xmlns:a16="http://schemas.microsoft.com/office/drawing/2014/main" id="{EE756C98-E661-4498-AE55-C33D3E6E4A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11" y="838799"/>
            <a:ext cx="2136812" cy="1769919"/>
          </a:xfrm>
          <a:prstGeom prst="rect">
            <a:avLst/>
          </a:prstGeom>
        </p:spPr>
      </p:pic>
      <p:pic>
        <p:nvPicPr>
          <p:cNvPr id="29" name="Grafik 2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C729B0-47A9-4243-A586-0F1216A538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334" y="1127692"/>
            <a:ext cx="2143125" cy="2143125"/>
          </a:xfrm>
          <a:prstGeom prst="rect">
            <a:avLst/>
          </a:prstGeom>
        </p:spPr>
      </p:pic>
      <p:pic>
        <p:nvPicPr>
          <p:cNvPr id="31" name="Grafik 30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3BC0947-D283-4CB6-B7A1-83BE4CC2A5A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312" y="2599194"/>
            <a:ext cx="2136812" cy="997179"/>
          </a:xfrm>
          <a:prstGeom prst="rect">
            <a:avLst/>
          </a:prstGeom>
        </p:spPr>
      </p:pic>
      <p:pic>
        <p:nvPicPr>
          <p:cNvPr id="33" name="Grafik 32" descr="Ein Bild, das Schild, Zeichnung enthält.&#10;&#10;Automatisch generierte Beschreibung">
            <a:extLst>
              <a:ext uri="{FF2B5EF4-FFF2-40B4-BE49-F238E27FC236}">
                <a16:creationId xmlns:a16="http://schemas.microsoft.com/office/drawing/2014/main" id="{50A65939-FF52-4AF4-BB9C-8C1D2C4B365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75" y="4511373"/>
            <a:ext cx="2711067" cy="1524975"/>
          </a:xfrm>
          <a:prstGeom prst="rect">
            <a:avLst/>
          </a:prstGeom>
        </p:spPr>
      </p:pic>
      <p:pic>
        <p:nvPicPr>
          <p:cNvPr id="34" name="Grafik 3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EA224A5-0E9E-4717-8822-5B24633596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910" y="4773954"/>
            <a:ext cx="2136812" cy="997179"/>
          </a:xfrm>
          <a:prstGeom prst="rect">
            <a:avLst/>
          </a:prstGeom>
        </p:spPr>
      </p:pic>
      <p:sp>
        <p:nvSpPr>
          <p:cNvPr id="38" name="Textfeld 37">
            <a:extLst>
              <a:ext uri="{FF2B5EF4-FFF2-40B4-BE49-F238E27FC236}">
                <a16:creationId xmlns:a16="http://schemas.microsoft.com/office/drawing/2014/main" id="{5C468FC6-DBD5-4ED3-8E18-5520BB94DE39}"/>
              </a:ext>
            </a:extLst>
          </p:cNvPr>
          <p:cNvSpPr txBox="1"/>
          <p:nvPr/>
        </p:nvSpPr>
        <p:spPr>
          <a:xfrm>
            <a:off x="4541298" y="3212709"/>
            <a:ext cx="1352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2.7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9679E607-6CEC-4C33-B391-CA67DD467188}"/>
              </a:ext>
            </a:extLst>
          </p:cNvPr>
          <p:cNvSpPr txBox="1"/>
          <p:nvPr/>
        </p:nvSpPr>
        <p:spPr>
          <a:xfrm>
            <a:off x="9015846" y="5542970"/>
            <a:ext cx="13529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3.5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FEFB0824-A5C4-4E59-A1DA-4322D0F0D756}"/>
              </a:ext>
            </a:extLst>
          </p:cNvPr>
          <p:cNvCxnSpPr>
            <a:cxnSpLocks/>
          </p:cNvCxnSpPr>
          <p:nvPr/>
        </p:nvCxnSpPr>
        <p:spPr>
          <a:xfrm flipV="1">
            <a:off x="2846407" y="3674374"/>
            <a:ext cx="1169461" cy="942783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927125F3-D69D-4381-A6D6-F0C885C73FE9}"/>
              </a:ext>
            </a:extLst>
          </p:cNvPr>
          <p:cNvCxnSpPr>
            <a:cxnSpLocks/>
          </p:cNvCxnSpPr>
          <p:nvPr/>
        </p:nvCxnSpPr>
        <p:spPr>
          <a:xfrm>
            <a:off x="6420402" y="2369410"/>
            <a:ext cx="2008360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29BC9646-CB04-4A7B-BC9D-D3338CA9D577}"/>
              </a:ext>
            </a:extLst>
          </p:cNvPr>
          <p:cNvCxnSpPr>
            <a:cxnSpLocks/>
            <a:stCxn id="48" idx="1"/>
          </p:cNvCxnSpPr>
          <p:nvPr/>
        </p:nvCxnSpPr>
        <p:spPr>
          <a:xfrm flipH="1" flipV="1">
            <a:off x="2846407" y="5272543"/>
            <a:ext cx="5704928" cy="1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Multiplikationszeichen 51">
            <a:extLst>
              <a:ext uri="{FF2B5EF4-FFF2-40B4-BE49-F238E27FC236}">
                <a16:creationId xmlns:a16="http://schemas.microsoft.com/office/drawing/2014/main" id="{F31CB056-228A-4BCC-B491-E09A6F387FEA}"/>
              </a:ext>
            </a:extLst>
          </p:cNvPr>
          <p:cNvSpPr/>
          <p:nvPr/>
        </p:nvSpPr>
        <p:spPr>
          <a:xfrm rot="19421506">
            <a:off x="2976711" y="3727622"/>
            <a:ext cx="831885" cy="902031"/>
          </a:xfrm>
          <a:prstGeom prst="mathMultiply">
            <a:avLst/>
          </a:prstGeom>
          <a:solidFill>
            <a:schemeClr val="accent6"/>
          </a:solidFill>
          <a:ln w="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523E4F6C-DC0A-4AA6-B185-D998B46AD4A4}"/>
              </a:ext>
            </a:extLst>
          </p:cNvPr>
          <p:cNvCxnSpPr>
            <a:cxnSpLocks/>
            <a:endCxn id="48" idx="0"/>
          </p:cNvCxnSpPr>
          <p:nvPr/>
        </p:nvCxnSpPr>
        <p:spPr>
          <a:xfrm>
            <a:off x="9692316" y="3429000"/>
            <a:ext cx="0" cy="1247283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8703984B-263E-4AA0-B2E5-099C5E4619B7}"/>
              </a:ext>
            </a:extLst>
          </p:cNvPr>
          <p:cNvSpPr txBox="1"/>
          <p:nvPr/>
        </p:nvSpPr>
        <p:spPr>
          <a:xfrm>
            <a:off x="9631029" y="3973948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Kann maximal bis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7B8B4A7-DA64-4F39-B8D8-55C6D3B043B3}"/>
              </a:ext>
            </a:extLst>
          </p:cNvPr>
          <p:cNvSpPr txBox="1"/>
          <p:nvPr/>
        </p:nvSpPr>
        <p:spPr>
          <a:xfrm>
            <a:off x="6542974" y="1980831"/>
            <a:ext cx="16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Läuft nur bis</a:t>
            </a:r>
          </a:p>
        </p:txBody>
      </p:sp>
    </p:spTree>
    <p:extLst>
      <p:ext uri="{BB962C8B-B14F-4D97-AF65-F5344CB8AC3E}">
        <p14:creationId xmlns:p14="http://schemas.microsoft.com/office/powerpoint/2010/main" val="1298572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Py2.7 Funktionen starten immer (solange die entsprechenden Pfade </a:t>
            </a:r>
            <a:r>
              <a:rPr lang="de-DE" dirty="0" err="1"/>
              <a:t>gesourced</a:t>
            </a:r>
            <a:r>
              <a:rPr lang="de-DE" dirty="0"/>
              <a:t> sind)</a:t>
            </a:r>
          </a:p>
          <a:p>
            <a:r>
              <a:rPr lang="de-DE" dirty="0"/>
              <a:t>Laut Kausalkette benötigen wir also das ganze Programm als Py3.5 Instanz</a:t>
            </a:r>
          </a:p>
          <a:p>
            <a:r>
              <a:rPr lang="de-DE" dirty="0"/>
              <a:t>Alle Tools zur Berechnung der Entfernung eines Menschen sind als Py3.5 kaum auffindbar oder nicht vorhanden</a:t>
            </a:r>
          </a:p>
          <a:p>
            <a:r>
              <a:rPr lang="de-DE" dirty="0"/>
              <a:t>Idee in Absprache mit Bernd: Zunächst eine Benchmark durchführen, um dann zu entscheiden, ob sich der Aufwand lohnt bzw. um Vergleiche zu ziehen</a:t>
            </a:r>
          </a:p>
          <a:p>
            <a:r>
              <a:rPr lang="de-DE" dirty="0"/>
              <a:t>Implementierung am Alf erfolgreich jedoch mit viel Schweiß und Tränen (die </a:t>
            </a:r>
            <a:r>
              <a:rPr lang="de-DE" dirty="0" err="1"/>
              <a:t>cv_bridge</a:t>
            </a:r>
            <a:r>
              <a:rPr lang="de-DE" dirty="0"/>
              <a:t> Installation musste über ein für Py3.5 kreierten </a:t>
            </a:r>
            <a:r>
              <a:rPr lang="de-DE" dirty="0" err="1"/>
              <a:t>Catkin</a:t>
            </a:r>
            <a:r>
              <a:rPr lang="de-DE" dirty="0"/>
              <a:t> Ordner </a:t>
            </a:r>
            <a:r>
              <a:rPr lang="de-DE" dirty="0" err="1"/>
              <a:t>gebuilded</a:t>
            </a:r>
            <a:r>
              <a:rPr lang="de-DE" dirty="0"/>
              <a:t> werden…in der </a:t>
            </a:r>
            <a:r>
              <a:rPr lang="de-DE" dirty="0" err="1"/>
              <a:t>Cmakelist</a:t>
            </a:r>
            <a:r>
              <a:rPr lang="de-DE" dirty="0"/>
              <a:t> musste „Python3“ durch „Python-py3.5“ ausgetauscht werden und Py2.7 aus dem PYTHONPATH genommen werden)                                             </a:t>
            </a:r>
            <a:r>
              <a:rPr lang="de-DE" dirty="0" err="1"/>
              <a:t>Benchmarkergebnisse</a:t>
            </a:r>
            <a:r>
              <a:rPr lang="de-DE" dirty="0"/>
              <a:t> gleich…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 wenn alles klar ist…dann mal los…Aber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Grafik 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60FACD8C-1DB8-4A7E-8E37-4FAA94F7AD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3090" y="3787572"/>
            <a:ext cx="2633134" cy="256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070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r>
              <a:rPr lang="de-DE" dirty="0"/>
              <a:t>Gute Zeiten lt. Benchmark auf Alf</a:t>
            </a:r>
          </a:p>
          <a:p>
            <a:pPr lvl="1"/>
            <a:r>
              <a:rPr lang="de-DE" dirty="0"/>
              <a:t>Über Import </a:t>
            </a:r>
            <a:r>
              <a:rPr lang="de-DE" dirty="0" err="1"/>
              <a:t>Tensorflow</a:t>
            </a:r>
            <a:r>
              <a:rPr lang="de-DE" dirty="0"/>
              <a:t>: Kaum schneller als </a:t>
            </a:r>
            <a:r>
              <a:rPr lang="de-DE" dirty="0" err="1"/>
              <a:t>Caffeemodel</a:t>
            </a:r>
            <a:r>
              <a:rPr lang="de-DE" dirty="0"/>
              <a:t> (CM 1s – TF 0.8s)</a:t>
            </a:r>
          </a:p>
          <a:p>
            <a:pPr lvl="1"/>
            <a:r>
              <a:rPr lang="de-DE" dirty="0"/>
              <a:t>Über </a:t>
            </a:r>
            <a:r>
              <a:rPr lang="de-DE" dirty="0" err="1"/>
              <a:t>TFLite</a:t>
            </a:r>
            <a:r>
              <a:rPr lang="de-DE" dirty="0"/>
              <a:t> </a:t>
            </a:r>
            <a:r>
              <a:rPr lang="de-DE" dirty="0" err="1"/>
              <a:t>Runtime</a:t>
            </a:r>
            <a:r>
              <a:rPr lang="de-DE" dirty="0"/>
              <a:t>: Doppelt so schnell (ca. 0.4s)</a:t>
            </a:r>
          </a:p>
          <a:p>
            <a:pPr lvl="1"/>
            <a:r>
              <a:rPr lang="de-DE" dirty="0"/>
              <a:t>Lohnt sich nun der Aufwand? Diese Frage stelle ich mir weil…</a:t>
            </a:r>
          </a:p>
          <a:p>
            <a:endParaRPr lang="de-DE" dirty="0"/>
          </a:p>
          <a:p>
            <a:r>
              <a:rPr lang="de-DE" dirty="0"/>
              <a:t>Schlechte Zeiten durch bisher gescheitertes </a:t>
            </a:r>
            <a:r>
              <a:rPr lang="de-DE" dirty="0" err="1"/>
              <a:t>Deployment</a:t>
            </a:r>
            <a:r>
              <a:rPr lang="de-DE" dirty="0"/>
              <a:t> auf Pi</a:t>
            </a:r>
          </a:p>
          <a:p>
            <a:pPr lvl="1"/>
            <a:r>
              <a:rPr lang="de-DE" dirty="0"/>
              <a:t>Selbe Vorgehensweise wie am Alf jedoch sehr wilde Fehler (Libraries fehlen usw. Fehlersuche läuft seit Tagen mit neues OS etc.)</a:t>
            </a:r>
          </a:p>
          <a:p>
            <a:pPr lvl="1"/>
            <a:r>
              <a:rPr lang="de-DE" dirty="0"/>
              <a:t>Meine momentane Einstellung zum Pi: </a:t>
            </a:r>
          </a:p>
          <a:p>
            <a:pPr marL="0" indent="0">
              <a:buNone/>
            </a:pPr>
            <a:r>
              <a:rPr lang="de-DE" dirty="0"/>
              <a:t>	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ute Zeiten, schlechte Z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pic>
        <p:nvPicPr>
          <p:cNvPr id="5" name="Grafik 4" descr="Ein Bild, das Essen enthält.&#10;&#10;Automatisch generierte Beschreibung">
            <a:extLst>
              <a:ext uri="{FF2B5EF4-FFF2-40B4-BE49-F238E27FC236}">
                <a16:creationId xmlns:a16="http://schemas.microsoft.com/office/drawing/2014/main" id="{5656026C-1B50-4AF2-85CE-D6991C05C1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866" y="3632964"/>
            <a:ext cx="3433234" cy="2838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0042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264</Words>
  <Application>Microsoft Office PowerPoint</Application>
  <PresentationFormat>Breitbild</PresentationFormat>
  <Paragraphs>43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Agenda</vt:lpstr>
      <vt:lpstr>Kausalkette zur Einbindung von Tensorflow Lite</vt:lpstr>
      <vt:lpstr>Na wenn alles klar ist…dann mal los…Aber</vt:lpstr>
      <vt:lpstr>Gute Zeiten, schlechte Zeiten</vt:lpstr>
      <vt:lpstr>PowerPoint-Präsentation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Giuliano 'Giulli' Montorio</cp:lastModifiedBy>
  <cp:revision>20</cp:revision>
  <dcterms:created xsi:type="dcterms:W3CDTF">2019-09-25T11:15:24Z</dcterms:created>
  <dcterms:modified xsi:type="dcterms:W3CDTF">2020-07-02T06:5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